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308" r:id="rId5"/>
  </p:sldIdLst>
  <p:sldSz cx="12192000" cy="6858000"/>
  <p:notesSz cx="7010400" cy="9296400"/>
  <p:embeddedFontLst>
    <p:embeddedFont>
      <p:font typeface="Arial Narrow" panose="020B0606020202030204" pitchFamily="34" charset="0"/>
      <p:regular r:id="rId8"/>
      <p:bold r:id="rId9"/>
      <p:italic r:id="rId10"/>
      <p:boldItalic r:id="rId11"/>
    </p:embeddedFont>
    <p:embeddedFont>
      <p:font typeface="PTCRaleway" panose="020B0604020202020204" charset="0"/>
      <p:regular r:id="rId12"/>
      <p:bold r:id="rId13"/>
      <p:italic r:id="rId14"/>
      <p:boldItalic r:id="rId15"/>
    </p:embeddedFont>
  </p:embeddedFontLst>
  <p:defaultTextStyle>
    <a:defPPr>
      <a:defRPr lang="en-US"/>
    </a:defPPr>
    <a:lvl1pPr marL="0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338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86775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3016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73551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1693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60326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0371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47102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8" orient="horz" pos="888" userDrawn="1">
          <p15:clr>
            <a:srgbClr val="A4A3A4"/>
          </p15:clr>
        </p15:guide>
        <p15:guide id="23" orient="horz" pos="600" userDrawn="1">
          <p15:clr>
            <a:srgbClr val="A4A3A4"/>
          </p15:clr>
        </p15:guide>
        <p15:guide id="26" pos="312" userDrawn="1">
          <p15:clr>
            <a:srgbClr val="A4A3A4"/>
          </p15:clr>
        </p15:guide>
        <p15:guide id="27" pos="7416" userDrawn="1">
          <p15:clr>
            <a:srgbClr val="A4A3A4"/>
          </p15:clr>
        </p15:guide>
        <p15:guide id="28" orient="horz" pos="4152" userDrawn="1">
          <p15:clr>
            <a:srgbClr val="A4A3A4"/>
          </p15:clr>
        </p15:guide>
        <p15:guide id="29" orient="horz" pos="1176" userDrawn="1">
          <p15:clr>
            <a:srgbClr val="A4A3A4"/>
          </p15:clr>
        </p15:guide>
        <p15:guide id="30" orient="horz" pos="13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Cagg, Marty" initials="MM" lastIdx="9" clrIdx="0">
    <p:extLst>
      <p:ext uri="{19B8F6BF-5375-455C-9EA6-DF929625EA0E}">
        <p15:presenceInfo xmlns:p15="http://schemas.microsoft.com/office/powerpoint/2012/main" userId="S::mmccagg@ptc.com::c2c447df-6635-47d9-b22f-40274ed5ccf9" providerId="AD"/>
      </p:ext>
    </p:extLst>
  </p:cmAuthor>
  <p:cmAuthor id="2" name="Author" initials="A" lastIdx="18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AEA"/>
    <a:srgbClr val="BFBFBF"/>
    <a:srgbClr val="4D585A"/>
    <a:srgbClr val="FFFFFF"/>
    <a:srgbClr val="3D4647"/>
    <a:srgbClr val="AA9103"/>
    <a:srgbClr val="12581A"/>
    <a:srgbClr val="3C4647"/>
    <a:srgbClr val="C8C9C7"/>
    <a:srgbClr val="FCB5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88" autoAdjust="0"/>
    <p:restoredTop sz="96357" autoAdjust="0"/>
  </p:normalViewPr>
  <p:slideViewPr>
    <p:cSldViewPr snapToGrid="0" snapToObjects="1">
      <p:cViewPr varScale="1">
        <p:scale>
          <a:sx n="114" d="100"/>
          <a:sy n="114" d="100"/>
        </p:scale>
        <p:origin x="702" y="102"/>
      </p:cViewPr>
      <p:guideLst>
        <p:guide orient="horz" pos="888"/>
        <p:guide orient="horz" pos="600"/>
        <p:guide pos="312"/>
        <p:guide pos="7416"/>
        <p:guide orient="horz" pos="4152"/>
        <p:guide orient="horz" pos="1176"/>
        <p:guide orient="horz" pos="13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-30"/>
    </p:cViewPr>
  </p:notesTextViewPr>
  <p:sorterViewPr>
    <p:cViewPr varScale="1">
      <p:scale>
        <a:sx n="1" d="1"/>
        <a:sy n="1" d="1"/>
      </p:scale>
      <p:origin x="0" y="-12582"/>
    </p:cViewPr>
  </p:sorterViewPr>
  <p:notesViewPr>
    <p:cSldViewPr snapToGrid="0" snapToObjects="1">
      <p:cViewPr varScale="1">
        <p:scale>
          <a:sx n="83" d="100"/>
          <a:sy n="83" d="100"/>
        </p:scale>
        <p:origin x="3810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handoutMaster" Target="handoutMasters/handoutMaster1.xml"/><Relationship Id="rId12" Type="http://schemas.openxmlformats.org/officeDocument/2006/relationships/font" Target="fonts/font5.fntdata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4.fntdata"/><Relationship Id="rId5" Type="http://schemas.openxmlformats.org/officeDocument/2006/relationships/slide" Target="slides/slide1.xml"/><Relationship Id="rId15" Type="http://schemas.openxmlformats.org/officeDocument/2006/relationships/font" Target="fonts/font8.fntdata"/><Relationship Id="rId10" Type="http://schemas.openxmlformats.org/officeDocument/2006/relationships/font" Target="fonts/font3.fntdata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2.fntdata"/><Relationship Id="rId14" Type="http://schemas.openxmlformats.org/officeDocument/2006/relationships/font" Target="fonts/font7.fnt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asilis Karastergios" userId="2aa9c0a1-323b-48aa-83e0-abc8de3a69d0" providerId="ADAL" clId="{16D2F522-E239-47EA-AA8B-E52EB247804A}"/>
    <pc:docChg chg="modSld">
      <pc:chgData name="Vasilis Karastergios" userId="2aa9c0a1-323b-48aa-83e0-abc8de3a69d0" providerId="ADAL" clId="{16D2F522-E239-47EA-AA8B-E52EB247804A}" dt="2024-02-13T12:56:02.161" v="1" actId="20577"/>
      <pc:docMkLst>
        <pc:docMk/>
      </pc:docMkLst>
      <pc:sldChg chg="modNotesTx">
        <pc:chgData name="Vasilis Karastergios" userId="2aa9c0a1-323b-48aa-83e0-abc8de3a69d0" providerId="ADAL" clId="{16D2F522-E239-47EA-AA8B-E52EB247804A}" dt="2024-02-13T12:56:02.161" v="1" actId="20577"/>
        <pc:sldMkLst>
          <pc:docMk/>
          <pc:sldMk cId="1657070728" sldId="308"/>
        </pc:sldMkLst>
      </pc:sldChg>
    </pc:docChg>
  </pc:docChgLst>
  <pc:docChgLst>
    <pc:chgData name="Raether, Jerry" userId="14db987c-f35f-4c71-8653-84d365bd3bb9" providerId="ADAL" clId="{90AB4D30-48C4-4682-BFF1-114A65A1ABB8}"/>
    <pc:docChg chg="custSel delSld modSld">
      <pc:chgData name="Raether, Jerry" userId="14db987c-f35f-4c71-8653-84d365bd3bb9" providerId="ADAL" clId="{90AB4D30-48C4-4682-BFF1-114A65A1ABB8}" dt="2022-07-27T15:29:13.971" v="1042"/>
      <pc:docMkLst>
        <pc:docMk/>
      </pc:docMkLst>
      <pc:sldChg chg="addSp modSp mod modNotesTx">
        <pc:chgData name="Raether, Jerry" userId="14db987c-f35f-4c71-8653-84d365bd3bb9" providerId="ADAL" clId="{90AB4D30-48C4-4682-BFF1-114A65A1ABB8}" dt="2022-07-27T15:11:04.308" v="1025" actId="20577"/>
        <pc:sldMkLst>
          <pc:docMk/>
          <pc:sldMk cId="414466384" sldId="256"/>
        </pc:sldMkLst>
        <pc:spChg chg="mod">
          <ac:chgData name="Raether, Jerry" userId="14db987c-f35f-4c71-8653-84d365bd3bb9" providerId="ADAL" clId="{90AB4D30-48C4-4682-BFF1-114A65A1ABB8}" dt="2022-07-27T15:11:04.308" v="1025" actId="20577"/>
          <ac:spMkLst>
            <pc:docMk/>
            <pc:sldMk cId="414466384" sldId="256"/>
            <ac:spMk id="5" creationId="{650B538C-8E9C-428A-8731-F59D383BA40D}"/>
          </ac:spMkLst>
        </pc:spChg>
        <pc:spChg chg="add mod">
          <ac:chgData name="Raether, Jerry" userId="14db987c-f35f-4c71-8653-84d365bd3bb9" providerId="ADAL" clId="{90AB4D30-48C4-4682-BFF1-114A65A1ABB8}" dt="2022-06-29T23:32:29.783" v="984" actId="6549"/>
          <ac:spMkLst>
            <pc:docMk/>
            <pc:sldMk cId="414466384" sldId="256"/>
            <ac:spMk id="8" creationId="{895474DD-2346-463E-B260-54DBFBB56DDB}"/>
          </ac:spMkLst>
        </pc:spChg>
      </pc:sldChg>
      <pc:sldChg chg="addSp delSp modSp">
        <pc:chgData name="Raether, Jerry" userId="14db987c-f35f-4c71-8653-84d365bd3bb9" providerId="ADAL" clId="{90AB4D30-48C4-4682-BFF1-114A65A1ABB8}" dt="2022-07-27T15:24:26.713" v="1040"/>
        <pc:sldMkLst>
          <pc:docMk/>
          <pc:sldMk cId="1304444699" sldId="293"/>
        </pc:sldMkLst>
        <pc:picChg chg="del">
          <ac:chgData name="Raether, Jerry" userId="14db987c-f35f-4c71-8653-84d365bd3bb9" providerId="ADAL" clId="{90AB4D30-48C4-4682-BFF1-114A65A1ABB8}" dt="2022-07-27T15:23:23.900" v="1037" actId="478"/>
          <ac:picMkLst>
            <pc:docMk/>
            <pc:sldMk cId="1304444699" sldId="293"/>
            <ac:picMk id="8" creationId="{860251A1-0C11-4324-A7BC-C4B98D89A538}"/>
          </ac:picMkLst>
        </pc:picChg>
        <pc:picChg chg="add del mod">
          <ac:chgData name="Raether, Jerry" userId="14db987c-f35f-4c71-8653-84d365bd3bb9" providerId="ADAL" clId="{90AB4D30-48C4-4682-BFF1-114A65A1ABB8}" dt="2022-07-27T15:24:09.057" v="1039" actId="478"/>
          <ac:picMkLst>
            <pc:docMk/>
            <pc:sldMk cId="1304444699" sldId="293"/>
            <ac:picMk id="22" creationId="{25A5B10F-9A1E-4B68-8FDC-844F6E678E1E}"/>
          </ac:picMkLst>
        </pc:picChg>
        <pc:picChg chg="add mod">
          <ac:chgData name="Raether, Jerry" userId="14db987c-f35f-4c71-8653-84d365bd3bb9" providerId="ADAL" clId="{90AB4D30-48C4-4682-BFF1-114A65A1ABB8}" dt="2022-07-27T15:24:26.713" v="1040"/>
          <ac:picMkLst>
            <pc:docMk/>
            <pc:sldMk cId="1304444699" sldId="293"/>
            <ac:picMk id="23" creationId="{C1D7CB09-9D53-4993-8B07-C74324C17B69}"/>
          </ac:picMkLst>
        </pc:picChg>
      </pc:sldChg>
      <pc:sldChg chg="modSp mod">
        <pc:chgData name="Raether, Jerry" userId="14db987c-f35f-4c71-8653-84d365bd3bb9" providerId="ADAL" clId="{90AB4D30-48C4-4682-BFF1-114A65A1ABB8}" dt="2022-07-27T15:14:42.086" v="1034" actId="6549"/>
        <pc:sldMkLst>
          <pc:docMk/>
          <pc:sldMk cId="1354864347" sldId="316"/>
        </pc:sldMkLst>
        <pc:spChg chg="mod">
          <ac:chgData name="Raether, Jerry" userId="14db987c-f35f-4c71-8653-84d365bd3bb9" providerId="ADAL" clId="{90AB4D30-48C4-4682-BFF1-114A65A1ABB8}" dt="2022-07-27T15:14:42.086" v="1034" actId="6549"/>
          <ac:spMkLst>
            <pc:docMk/>
            <pc:sldMk cId="1354864347" sldId="316"/>
            <ac:spMk id="5" creationId="{00000000-0000-0000-0000-000000000000}"/>
          </ac:spMkLst>
        </pc:spChg>
      </pc:sldChg>
      <pc:sldChg chg="del">
        <pc:chgData name="Raether, Jerry" userId="14db987c-f35f-4c71-8653-84d365bd3bb9" providerId="ADAL" clId="{90AB4D30-48C4-4682-BFF1-114A65A1ABB8}" dt="2022-05-12T20:59:37.483" v="348" actId="47"/>
        <pc:sldMkLst>
          <pc:docMk/>
          <pc:sldMk cId="2090238529" sldId="323"/>
        </pc:sldMkLst>
      </pc:sldChg>
      <pc:sldChg chg="modSp mod">
        <pc:chgData name="Raether, Jerry" userId="14db987c-f35f-4c71-8653-84d365bd3bb9" providerId="ADAL" clId="{90AB4D30-48C4-4682-BFF1-114A65A1ABB8}" dt="2022-05-12T21:37:12.715" v="475"/>
        <pc:sldMkLst>
          <pc:docMk/>
          <pc:sldMk cId="888175597" sldId="326"/>
        </pc:sldMkLst>
        <pc:spChg chg="mod">
          <ac:chgData name="Raether, Jerry" userId="14db987c-f35f-4c71-8653-84d365bd3bb9" providerId="ADAL" clId="{90AB4D30-48C4-4682-BFF1-114A65A1ABB8}" dt="2022-05-12T21:00:14.319" v="376" actId="14100"/>
          <ac:spMkLst>
            <pc:docMk/>
            <pc:sldMk cId="888175597" sldId="326"/>
            <ac:spMk id="3" creationId="{DB42A882-3395-4499-BFC7-78DDD2DD0A09}"/>
          </ac:spMkLst>
        </pc:spChg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888175597" sldId="326"/>
            <ac:spMk id="5" creationId="{00000000-0000-0000-0000-000000000000}"/>
          </ac:spMkLst>
        </pc:spChg>
      </pc:sldChg>
      <pc:sldChg chg="modNotesTx">
        <pc:chgData name="Raether, Jerry" userId="14db987c-f35f-4c71-8653-84d365bd3bb9" providerId="ADAL" clId="{90AB4D30-48C4-4682-BFF1-114A65A1ABB8}" dt="2022-05-12T21:02:40.748" v="440" actId="20577"/>
        <pc:sldMkLst>
          <pc:docMk/>
          <pc:sldMk cId="1228136347" sldId="331"/>
        </pc:sldMkLst>
      </pc:sldChg>
      <pc:sldChg chg="modSp mod">
        <pc:chgData name="Raether, Jerry" userId="14db987c-f35f-4c71-8653-84d365bd3bb9" providerId="ADAL" clId="{90AB4D30-48C4-4682-BFF1-114A65A1ABB8}" dt="2022-06-29T23:17:04.476" v="523" actId="20577"/>
        <pc:sldMkLst>
          <pc:docMk/>
          <pc:sldMk cId="3672931568" sldId="375"/>
        </pc:sldMkLst>
        <pc:graphicFrameChg chg="modGraphic">
          <ac:chgData name="Raether, Jerry" userId="14db987c-f35f-4c71-8653-84d365bd3bb9" providerId="ADAL" clId="{90AB4D30-48C4-4682-BFF1-114A65A1ABB8}" dt="2022-06-29T23:17:04.476" v="523" actId="20577"/>
          <ac:graphicFrameMkLst>
            <pc:docMk/>
            <pc:sldMk cId="3672931568" sldId="375"/>
            <ac:graphicFrameMk id="15" creationId="{10533E11-6D14-4282-942B-C43EC19E3E8B}"/>
          </ac:graphicFrameMkLst>
        </pc:graphicFrameChg>
      </pc:sldChg>
      <pc:sldChg chg="modNotesTx">
        <pc:chgData name="Raether, Jerry" userId="14db987c-f35f-4c71-8653-84d365bd3bb9" providerId="ADAL" clId="{90AB4D30-48C4-4682-BFF1-114A65A1ABB8}" dt="2022-05-12T21:36:57.402" v="474" actId="6549"/>
        <pc:sldMkLst>
          <pc:docMk/>
          <pc:sldMk cId="1948550152" sldId="3602"/>
        </pc:sldMkLst>
      </pc:sldChg>
      <pc:sldChg chg="modSp mod">
        <pc:chgData name="Raether, Jerry" userId="14db987c-f35f-4c71-8653-84d365bd3bb9" providerId="ADAL" clId="{90AB4D30-48C4-4682-BFF1-114A65A1ABB8}" dt="2022-05-12T20:54:33.501" v="297" actId="20577"/>
        <pc:sldMkLst>
          <pc:docMk/>
          <pc:sldMk cId="2673167439" sldId="3603"/>
        </pc:sldMkLst>
        <pc:graphicFrameChg chg="modGraphic">
          <ac:chgData name="Raether, Jerry" userId="14db987c-f35f-4c71-8653-84d365bd3bb9" providerId="ADAL" clId="{90AB4D30-48C4-4682-BFF1-114A65A1ABB8}" dt="2022-05-12T20:54:33.501" v="297" actId="20577"/>
          <ac:graphicFrameMkLst>
            <pc:docMk/>
            <pc:sldMk cId="2673167439" sldId="3603"/>
            <ac:graphicFrameMk id="15" creationId="{79A69B24-3C06-4421-96BE-892291FE5A1F}"/>
          </ac:graphicFrameMkLst>
        </pc:graphicFrameChg>
      </pc:sldChg>
      <pc:sldChg chg="modSp mod modNotes">
        <pc:chgData name="Raether, Jerry" userId="14db987c-f35f-4c71-8653-84d365bd3bb9" providerId="ADAL" clId="{90AB4D30-48C4-4682-BFF1-114A65A1ABB8}" dt="2022-05-24T17:35:41.509" v="511" actId="20577"/>
        <pc:sldMkLst>
          <pc:docMk/>
          <pc:sldMk cId="3222589753" sldId="3610"/>
        </pc:sldMkLst>
        <pc:graphicFrameChg chg="mod modGraphic">
          <ac:chgData name="Raether, Jerry" userId="14db987c-f35f-4c71-8653-84d365bd3bb9" providerId="ADAL" clId="{90AB4D30-48C4-4682-BFF1-114A65A1ABB8}" dt="2022-05-24T17:35:41.509" v="511" actId="20577"/>
          <ac:graphicFrameMkLst>
            <pc:docMk/>
            <pc:sldMk cId="3222589753" sldId="3610"/>
            <ac:graphicFrameMk id="13" creationId="{D23686F0-C751-4A65-AE04-19F6DD98360D}"/>
          </ac:graphicFrameMkLst>
        </pc:graphicFrameChg>
      </pc:sldChg>
      <pc:sldChg chg="addSp delSp modSp mod">
        <pc:chgData name="Raether, Jerry" userId="14db987c-f35f-4c71-8653-84d365bd3bb9" providerId="ADAL" clId="{90AB4D30-48C4-4682-BFF1-114A65A1ABB8}" dt="2022-07-27T15:29:13.971" v="1042"/>
        <pc:sldMkLst>
          <pc:docMk/>
          <pc:sldMk cId="3559413987" sldId="3612"/>
        </pc:sldMkLst>
        <pc:spChg chg="mod">
          <ac:chgData name="Raether, Jerry" userId="14db987c-f35f-4c71-8653-84d365bd3bb9" providerId="ADAL" clId="{90AB4D30-48C4-4682-BFF1-114A65A1ABB8}" dt="2022-05-12T20:57:48.677" v="325" actId="1036"/>
          <ac:spMkLst>
            <pc:docMk/>
            <pc:sldMk cId="3559413987" sldId="3612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57:37.977" v="315" actId="1036"/>
          <ac:spMkLst>
            <pc:docMk/>
            <pc:sldMk cId="3559413987" sldId="3612"/>
            <ac:spMk id="13" creationId="{76513160-9BF9-4D67-8C54-CBD65A69F485}"/>
          </ac:spMkLst>
        </pc:spChg>
        <pc:spChg chg="del mod">
          <ac:chgData name="Raether, Jerry" userId="14db987c-f35f-4c71-8653-84d365bd3bb9" providerId="ADAL" clId="{90AB4D30-48C4-4682-BFF1-114A65A1ABB8}" dt="2022-05-12T20:58:19.938" v="335" actId="478"/>
          <ac:spMkLst>
            <pc:docMk/>
            <pc:sldMk cId="3559413987" sldId="3612"/>
            <ac:spMk id="17" creationId="{0FA4489C-D1EA-4EC8-A497-969A8BE1EE0D}"/>
          </ac:spMkLst>
        </pc:spChg>
        <pc:spChg chg="del">
          <ac:chgData name="Raether, Jerry" userId="14db987c-f35f-4c71-8653-84d365bd3bb9" providerId="ADAL" clId="{90AB4D30-48C4-4682-BFF1-114A65A1ABB8}" dt="2022-05-12T20:58:26.966" v="338" actId="478"/>
          <ac:spMkLst>
            <pc:docMk/>
            <pc:sldMk cId="3559413987" sldId="3612"/>
            <ac:spMk id="24" creationId="{4EF01C5F-1A1A-4E76-9819-7924B25A5753}"/>
          </ac:spMkLst>
        </pc:spChg>
        <pc:graphicFrameChg chg="modGraphic">
          <ac:chgData name="Raether, Jerry" userId="14db987c-f35f-4c71-8653-84d365bd3bb9" providerId="ADAL" clId="{90AB4D30-48C4-4682-BFF1-114A65A1ABB8}" dt="2022-05-12T20:57:09.252" v="305" actId="20577"/>
          <ac:graphicFrameMkLst>
            <pc:docMk/>
            <pc:sldMk cId="3559413987" sldId="3612"/>
            <ac:graphicFrameMk id="20" creationId="{2A3B3914-05EB-4FC6-9A6C-5211A6EE97E2}"/>
          </ac:graphicFrameMkLst>
        </pc:graphicFrameChg>
        <pc:picChg chg="add mod">
          <ac:chgData name="Raether, Jerry" userId="14db987c-f35f-4c71-8653-84d365bd3bb9" providerId="ADAL" clId="{90AB4D30-48C4-4682-BFF1-114A65A1ABB8}" dt="2022-07-27T15:29:13.971" v="1042"/>
          <ac:picMkLst>
            <pc:docMk/>
            <pc:sldMk cId="3559413987" sldId="3612"/>
            <ac:picMk id="9" creationId="{7FFF7952-D042-4FAA-8AB5-B8A5A5A0607D}"/>
          </ac:picMkLst>
        </pc:picChg>
        <pc:picChg chg="del">
          <ac:chgData name="Raether, Jerry" userId="14db987c-f35f-4c71-8653-84d365bd3bb9" providerId="ADAL" clId="{90AB4D30-48C4-4682-BFF1-114A65A1ABB8}" dt="2022-07-27T15:28:27.948" v="1041" actId="478"/>
          <ac:picMkLst>
            <pc:docMk/>
            <pc:sldMk cId="3559413987" sldId="3612"/>
            <ac:picMk id="11" creationId="{D83D159A-615F-4E48-A641-63296391D1A3}"/>
          </ac:picMkLst>
        </pc:picChg>
        <pc:picChg chg="mod">
          <ac:chgData name="Raether, Jerry" userId="14db987c-f35f-4c71-8653-84d365bd3bb9" providerId="ADAL" clId="{90AB4D30-48C4-4682-BFF1-114A65A1ABB8}" dt="2022-05-12T20:58:29.238" v="339" actId="1076"/>
          <ac:picMkLst>
            <pc:docMk/>
            <pc:sldMk cId="3559413987" sldId="3612"/>
            <ac:picMk id="21" creationId="{A3706D9C-7B15-45A9-A8C7-C2D3B394CFF4}"/>
          </ac:picMkLst>
        </pc:picChg>
        <pc:picChg chg="mod">
          <ac:chgData name="Raether, Jerry" userId="14db987c-f35f-4c71-8653-84d365bd3bb9" providerId="ADAL" clId="{90AB4D30-48C4-4682-BFF1-114A65A1ABB8}" dt="2022-05-12T20:58:22.429" v="336" actId="1076"/>
          <ac:picMkLst>
            <pc:docMk/>
            <pc:sldMk cId="3559413987" sldId="3612"/>
            <ac:picMk id="23" creationId="{B87A4B5B-D98E-4FE0-8197-F3DEA0C37D34}"/>
          </ac:picMkLst>
        </pc:picChg>
      </pc:sldChg>
      <pc:sldChg chg="del">
        <pc:chgData name="Raether, Jerry" userId="14db987c-f35f-4c71-8653-84d365bd3bb9" providerId="ADAL" clId="{90AB4D30-48C4-4682-BFF1-114A65A1ABB8}" dt="2022-05-12T20:59:39.205" v="349" actId="47"/>
        <pc:sldMkLst>
          <pc:docMk/>
          <pc:sldMk cId="1692230619" sldId="3614"/>
        </pc:sldMkLst>
      </pc:sldChg>
      <pc:sldChg chg="modSp mod">
        <pc:chgData name="Raether, Jerry" userId="14db987c-f35f-4c71-8653-84d365bd3bb9" providerId="ADAL" clId="{90AB4D30-48C4-4682-BFF1-114A65A1ABB8}" dt="2022-05-12T21:36:22.224" v="448" actId="20577"/>
        <pc:sldMkLst>
          <pc:docMk/>
          <pc:sldMk cId="4133373926" sldId="3619"/>
        </pc:sldMkLst>
        <pc:spChg chg="mod">
          <ac:chgData name="Raether, Jerry" userId="14db987c-f35f-4c71-8653-84d365bd3bb9" providerId="ADAL" clId="{90AB4D30-48C4-4682-BFF1-114A65A1ABB8}" dt="2022-05-12T20:49:13.470" v="202"/>
          <ac:spMkLst>
            <pc:docMk/>
            <pc:sldMk cId="4133373926" sldId="3619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36:22.224" v="448" actId="20577"/>
          <ac:spMkLst>
            <pc:docMk/>
            <pc:sldMk cId="4133373926" sldId="3619"/>
            <ac:spMk id="6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49:31.981" v="203" actId="33524"/>
          <ac:spMkLst>
            <pc:docMk/>
            <pc:sldMk cId="4133373926" sldId="3619"/>
            <ac:spMk id="13" creationId="{B431345D-4ACB-4F7F-AC85-B1A8E38BB4B1}"/>
          </ac:spMkLst>
        </pc:spChg>
        <pc:spChg chg="mod">
          <ac:chgData name="Raether, Jerry" userId="14db987c-f35f-4c71-8653-84d365bd3bb9" providerId="ADAL" clId="{90AB4D30-48C4-4682-BFF1-114A65A1ABB8}" dt="2022-05-12T20:49:49.103" v="217" actId="6549"/>
          <ac:spMkLst>
            <pc:docMk/>
            <pc:sldMk cId="4133373926" sldId="3619"/>
            <ac:spMk id="17" creationId="{BDFD3054-8D53-4BD8-B2CA-B2964856F366}"/>
          </ac:spMkLst>
        </pc:spChg>
        <pc:spChg chg="mod">
          <ac:chgData name="Raether, Jerry" userId="14db987c-f35f-4c71-8653-84d365bd3bb9" providerId="ADAL" clId="{90AB4D30-48C4-4682-BFF1-114A65A1ABB8}" dt="2022-05-12T20:49:56.837" v="231" actId="6549"/>
          <ac:spMkLst>
            <pc:docMk/>
            <pc:sldMk cId="4133373926" sldId="3619"/>
            <ac:spMk id="19" creationId="{BF2BB4F5-6BBE-4313-8093-E026F250E3B6}"/>
          </ac:spMkLst>
        </pc:spChg>
        <pc:picChg chg="mod">
          <ac:chgData name="Raether, Jerry" userId="14db987c-f35f-4c71-8653-84d365bd3bb9" providerId="ADAL" clId="{90AB4D30-48C4-4682-BFF1-114A65A1ABB8}" dt="2022-05-12T20:50:04.172" v="233" actId="1076"/>
          <ac:picMkLst>
            <pc:docMk/>
            <pc:sldMk cId="4133373926" sldId="3619"/>
            <ac:picMk id="25" creationId="{67855199-ECDE-411B-BC67-8775679F27E1}"/>
          </ac:picMkLst>
        </pc:picChg>
        <pc:picChg chg="mod">
          <ac:chgData name="Raether, Jerry" userId="14db987c-f35f-4c71-8653-84d365bd3bb9" providerId="ADAL" clId="{90AB4D30-48C4-4682-BFF1-114A65A1ABB8}" dt="2022-05-12T20:50:05.483" v="234" actId="1076"/>
          <ac:picMkLst>
            <pc:docMk/>
            <pc:sldMk cId="4133373926" sldId="3619"/>
            <ac:picMk id="26" creationId="{42B591F1-A686-4DC9-9787-B25FEC953005}"/>
          </ac:picMkLst>
        </pc:picChg>
      </pc:sldChg>
      <pc:sldChg chg="addSp delSp modSp">
        <pc:chgData name="Raether, Jerry" userId="14db987c-f35f-4c71-8653-84d365bd3bb9" providerId="ADAL" clId="{90AB4D30-48C4-4682-BFF1-114A65A1ABB8}" dt="2022-07-27T15:16:52.227" v="1036"/>
        <pc:sldMkLst>
          <pc:docMk/>
          <pc:sldMk cId="1490288003" sldId="3620"/>
        </pc:sldMkLst>
        <pc:picChg chg="del">
          <ac:chgData name="Raether, Jerry" userId="14db987c-f35f-4c71-8653-84d365bd3bb9" providerId="ADAL" clId="{90AB4D30-48C4-4682-BFF1-114A65A1ABB8}" dt="2022-07-27T15:16:50.963" v="1035" actId="478"/>
          <ac:picMkLst>
            <pc:docMk/>
            <pc:sldMk cId="1490288003" sldId="3620"/>
            <ac:picMk id="9" creationId="{18104B31-8DD4-4248-9C46-38658EA94F6D}"/>
          </ac:picMkLst>
        </pc:picChg>
        <pc:picChg chg="add mod">
          <ac:chgData name="Raether, Jerry" userId="14db987c-f35f-4c71-8653-84d365bd3bb9" providerId="ADAL" clId="{90AB4D30-48C4-4682-BFF1-114A65A1ABB8}" dt="2022-07-27T15:16:52.227" v="1036"/>
          <ac:picMkLst>
            <pc:docMk/>
            <pc:sldMk cId="1490288003" sldId="3620"/>
            <ac:picMk id="24" creationId="{F5D87CE3-EF10-433E-8969-94C7EA8FEEA4}"/>
          </ac:picMkLst>
        </pc:picChg>
      </pc:sldChg>
      <pc:sldChg chg="modSp mod modNotesTx">
        <pc:chgData name="Raether, Jerry" userId="14db987c-f35f-4c71-8653-84d365bd3bb9" providerId="ADAL" clId="{90AB4D30-48C4-4682-BFF1-114A65A1ABB8}" dt="2022-06-29T23:36:01.799" v="1021" actId="6549"/>
        <pc:sldMkLst>
          <pc:docMk/>
          <pc:sldMk cId="3626150123" sldId="4263"/>
        </pc:sldMkLst>
        <pc:spChg chg="mod">
          <ac:chgData name="Raether, Jerry" userId="14db987c-f35f-4c71-8653-84d365bd3bb9" providerId="ADAL" clId="{90AB4D30-48C4-4682-BFF1-114A65A1ABB8}" dt="2022-06-29T23:36:01.799" v="1021" actId="6549"/>
          <ac:spMkLst>
            <pc:docMk/>
            <pc:sldMk cId="3626150123" sldId="4263"/>
            <ac:spMk id="6" creationId="{2BA6AC9F-D16D-43DA-A2DF-DBAD687C4C9C}"/>
          </ac:spMkLst>
        </pc:spChg>
        <pc:spChg chg="mod">
          <ac:chgData name="Raether, Jerry" userId="14db987c-f35f-4c71-8653-84d365bd3bb9" providerId="ADAL" clId="{90AB4D30-48C4-4682-BFF1-114A65A1ABB8}" dt="2022-05-12T18:33:12.449" v="96" actId="6549"/>
          <ac:spMkLst>
            <pc:docMk/>
            <pc:sldMk cId="3626150123" sldId="4263"/>
            <ac:spMk id="196" creationId="{E08E976B-2F06-4440-A134-E82E1231F5DD}"/>
          </ac:spMkLst>
        </pc:spChg>
        <pc:cxnChg chg="mod">
          <ac:chgData name="Raether, Jerry" userId="14db987c-f35f-4c71-8653-84d365bd3bb9" providerId="ADAL" clId="{90AB4D30-48C4-4682-BFF1-114A65A1ABB8}" dt="2022-06-29T23:23:46.973" v="727" actId="14100"/>
          <ac:cxnSpMkLst>
            <pc:docMk/>
            <pc:sldMk cId="3626150123" sldId="4263"/>
            <ac:cxnSpMk id="38" creationId="{EDD677DB-A66F-4EFA-9CBF-5F77055C9F27}"/>
          </ac:cxnSpMkLst>
        </pc:cxnChg>
        <pc:cxnChg chg="mod">
          <ac:chgData name="Raether, Jerry" userId="14db987c-f35f-4c71-8653-84d365bd3bb9" providerId="ADAL" clId="{90AB4D30-48C4-4682-BFF1-114A65A1ABB8}" dt="2022-06-29T23:23:23.721" v="724" actId="14100"/>
          <ac:cxnSpMkLst>
            <pc:docMk/>
            <pc:sldMk cId="3626150123" sldId="4263"/>
            <ac:cxnSpMk id="47" creationId="{E68599B3-C798-48D1-BC22-402B8B429CE7}"/>
          </ac:cxnSpMkLst>
        </pc:cxnChg>
        <pc:cxnChg chg="mod">
          <ac:chgData name="Raether, Jerry" userId="14db987c-f35f-4c71-8653-84d365bd3bb9" providerId="ADAL" clId="{90AB4D30-48C4-4682-BFF1-114A65A1ABB8}" dt="2022-06-29T23:23:28.553" v="725" actId="14100"/>
          <ac:cxnSpMkLst>
            <pc:docMk/>
            <pc:sldMk cId="3626150123" sldId="4263"/>
            <ac:cxnSpMk id="48" creationId="{9E99BBD1-D900-4934-9577-024DAC5FE6F0}"/>
          </ac:cxnSpMkLst>
        </pc:cxnChg>
        <pc:cxnChg chg="mod">
          <ac:chgData name="Raether, Jerry" userId="14db987c-f35f-4c71-8653-84d365bd3bb9" providerId="ADAL" clId="{90AB4D30-48C4-4682-BFF1-114A65A1ABB8}" dt="2022-05-12T18:31:32.372" v="14" actId="14100"/>
          <ac:cxnSpMkLst>
            <pc:docMk/>
            <pc:sldMk cId="3626150123" sldId="4263"/>
            <ac:cxnSpMk id="51" creationId="{542AFDD7-883D-4138-87F2-7D345AD931DA}"/>
          </ac:cxnSpMkLst>
        </pc:cxnChg>
        <pc:cxnChg chg="mod">
          <ac:chgData name="Raether, Jerry" userId="14db987c-f35f-4c71-8653-84d365bd3bb9" providerId="ADAL" clId="{90AB4D30-48C4-4682-BFF1-114A65A1ABB8}" dt="2022-05-12T18:31:53.975" v="27" actId="14100"/>
          <ac:cxnSpMkLst>
            <pc:docMk/>
            <pc:sldMk cId="3626150123" sldId="4263"/>
            <ac:cxnSpMk id="58" creationId="{0F4811C2-333D-47FB-BADE-B8D959669805}"/>
          </ac:cxnSpMkLst>
        </pc:cxnChg>
        <pc:cxnChg chg="mod">
          <ac:chgData name="Raether, Jerry" userId="14db987c-f35f-4c71-8653-84d365bd3bb9" providerId="ADAL" clId="{90AB4D30-48C4-4682-BFF1-114A65A1ABB8}" dt="2022-05-12T18:32:14.545" v="42" actId="14100"/>
          <ac:cxnSpMkLst>
            <pc:docMk/>
            <pc:sldMk cId="3626150123" sldId="4263"/>
            <ac:cxnSpMk id="83" creationId="{F1E5A77C-1B5C-4497-ABDA-A095AFABF477}"/>
          </ac:cxnSpMkLst>
        </pc:cxnChg>
        <pc:cxnChg chg="mod">
          <ac:chgData name="Raether, Jerry" userId="14db987c-f35f-4c71-8653-84d365bd3bb9" providerId="ADAL" clId="{90AB4D30-48C4-4682-BFF1-114A65A1ABB8}" dt="2022-06-29T23:23:39.503" v="726" actId="14100"/>
          <ac:cxnSpMkLst>
            <pc:docMk/>
            <pc:sldMk cId="3626150123" sldId="4263"/>
            <ac:cxnSpMk id="85" creationId="{5C7F86B7-4359-4C94-9059-EF68332BCF7B}"/>
          </ac:cxnSpMkLst>
        </pc:cxnChg>
        <pc:cxnChg chg="mod">
          <ac:chgData name="Raether, Jerry" userId="14db987c-f35f-4c71-8653-84d365bd3bb9" providerId="ADAL" clId="{90AB4D30-48C4-4682-BFF1-114A65A1ABB8}" dt="2022-05-12T18:32:46.584" v="60" actId="14100"/>
          <ac:cxnSpMkLst>
            <pc:docMk/>
            <pc:sldMk cId="3626150123" sldId="4263"/>
            <ac:cxnSpMk id="86" creationId="{B70BDA47-5780-443C-A023-6BB53ECC939D}"/>
          </ac:cxnSpMkLst>
        </pc:cxnChg>
        <pc:cxnChg chg="mod">
          <ac:chgData name="Raether, Jerry" userId="14db987c-f35f-4c71-8653-84d365bd3bb9" providerId="ADAL" clId="{90AB4D30-48C4-4682-BFF1-114A65A1ABB8}" dt="2022-05-12T18:32:38.371" v="59" actId="14100"/>
          <ac:cxnSpMkLst>
            <pc:docMk/>
            <pc:sldMk cId="3626150123" sldId="4263"/>
            <ac:cxnSpMk id="742" creationId="{CE320F8F-BE22-498C-AC3B-2B60831FC726}"/>
          </ac:cxnSpMkLst>
        </pc:cxnChg>
      </pc:sldChg>
      <pc:sldChg chg="modSp mod">
        <pc:chgData name="Raether, Jerry" userId="14db987c-f35f-4c71-8653-84d365bd3bb9" providerId="ADAL" clId="{90AB4D30-48C4-4682-BFF1-114A65A1ABB8}" dt="2022-05-12T21:37:15.199" v="483" actId="20577"/>
        <pc:sldMkLst>
          <pc:docMk/>
          <pc:sldMk cId="270707387" sldId="4265"/>
        </pc:sldMkLst>
        <pc:spChg chg="mod">
          <ac:chgData name="Raether, Jerry" userId="14db987c-f35f-4c71-8653-84d365bd3bb9" providerId="ADAL" clId="{90AB4D30-48C4-4682-BFF1-114A65A1ABB8}" dt="2022-05-12T21:37:15.199" v="483" actId="20577"/>
          <ac:spMkLst>
            <pc:docMk/>
            <pc:sldMk cId="270707387" sldId="4265"/>
            <ac:spMk id="6" creationId="{76C91FAD-A65A-4B88-A45A-E8D1CF176F33}"/>
          </ac:spMkLst>
        </pc:spChg>
        <pc:graphicFrameChg chg="modGraphic">
          <ac:chgData name="Raether, Jerry" userId="14db987c-f35f-4c71-8653-84d365bd3bb9" providerId="ADAL" clId="{90AB4D30-48C4-4682-BFF1-114A65A1ABB8}" dt="2022-05-12T20:58:52.485" v="347" actId="20577"/>
          <ac:graphicFrameMkLst>
            <pc:docMk/>
            <pc:sldMk cId="270707387" sldId="4265"/>
            <ac:graphicFrameMk id="18" creationId="{B26D893D-B451-4FE3-A72C-C83032CAEA5C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18:34:00.310" v="109" actId="2165"/>
        <pc:sldMkLst>
          <pc:docMk/>
          <pc:sldMk cId="2261095948" sldId="4266"/>
        </pc:sldMkLst>
        <pc:graphicFrameChg chg="modGraphic">
          <ac:chgData name="Raether, Jerry" userId="14db987c-f35f-4c71-8653-84d365bd3bb9" providerId="ADAL" clId="{90AB4D30-48C4-4682-BFF1-114A65A1ABB8}" dt="2022-05-12T18:34:00.310" v="109" actId="2165"/>
          <ac:graphicFrameMkLst>
            <pc:docMk/>
            <pc:sldMk cId="2261095948" sldId="4266"/>
            <ac:graphicFrameMk id="8" creationId="{00000000-0000-0000-0000-000000000000}"/>
          </ac:graphicFrameMkLst>
        </pc:graphicFrameChg>
      </pc:sldChg>
      <pc:sldChg chg="modSp">
        <pc:chgData name="Raether, Jerry" userId="14db987c-f35f-4c71-8653-84d365bd3bb9" providerId="ADAL" clId="{90AB4D30-48C4-4682-BFF1-114A65A1ABB8}" dt="2022-05-12T21:37:12.715" v="475"/>
        <pc:sldMkLst>
          <pc:docMk/>
          <pc:sldMk cId="2300956671" sldId="4271"/>
        </pc:sldMkLst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2300956671" sldId="4271"/>
            <ac:spMk id="17" creationId="{98C93522-5A81-40A5-834A-7CC7643CB426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1:43.720" v="413" actId="6549"/>
        <pc:sldMkLst>
          <pc:docMk/>
          <pc:sldMk cId="2586647777" sldId="4274"/>
        </pc:sldMkLst>
        <pc:spChg chg="mod">
          <ac:chgData name="Raether, Jerry" userId="14db987c-f35f-4c71-8653-84d365bd3bb9" providerId="ADAL" clId="{90AB4D30-48C4-4682-BFF1-114A65A1ABB8}" dt="2022-05-12T21:01:12.404" v="391"/>
          <ac:spMkLst>
            <pc:docMk/>
            <pc:sldMk cId="2586647777" sldId="4274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01:20.561" v="399" actId="20577"/>
          <ac:spMkLst>
            <pc:docMk/>
            <pc:sldMk cId="2586647777" sldId="4274"/>
            <ac:spMk id="34" creationId="{0B1023CE-411D-4A8D-A41E-5DE1CCB62607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2:26.906" v="439" actId="6549"/>
        <pc:sldMkLst>
          <pc:docMk/>
          <pc:sldMk cId="2776648146" sldId="4276"/>
        </pc:sldMkLst>
        <pc:graphicFrameChg chg="modGraphic">
          <ac:chgData name="Raether, Jerry" userId="14db987c-f35f-4c71-8653-84d365bd3bb9" providerId="ADAL" clId="{90AB4D30-48C4-4682-BFF1-114A65A1ABB8}" dt="2022-05-12T21:02:09.729" v="425" actId="20577"/>
          <ac:graphicFrameMkLst>
            <pc:docMk/>
            <pc:sldMk cId="2776648146" sldId="4276"/>
            <ac:graphicFrameMk id="14" creationId="{219AAD19-813D-4C3D-9A80-CB62CAA08099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20:51:35.409" v="256" actId="6549"/>
        <pc:sldMkLst>
          <pc:docMk/>
          <pc:sldMk cId="3550731511" sldId="2147374543"/>
        </pc:sldMkLst>
        <pc:spChg chg="mod">
          <ac:chgData name="Raether, Jerry" userId="14db987c-f35f-4c71-8653-84d365bd3bb9" providerId="ADAL" clId="{90AB4D30-48C4-4682-BFF1-114A65A1ABB8}" dt="2022-05-12T20:51:35.409" v="256" actId="6549"/>
          <ac:spMkLst>
            <pc:docMk/>
            <pc:sldMk cId="3550731511" sldId="2147374543"/>
            <ac:spMk id="2" creationId="{5E9386B8-5C25-45BC-84E3-F7F7022D92AD}"/>
          </ac:spMkLst>
        </pc:spChg>
        <pc:graphicFrameChg chg="modGraphic">
          <ac:chgData name="Raether, Jerry" userId="14db987c-f35f-4c71-8653-84d365bd3bb9" providerId="ADAL" clId="{90AB4D30-48C4-4682-BFF1-114A65A1ABB8}" dt="2022-05-12T20:50:44.999" v="242" actId="20577"/>
          <ac:graphicFrameMkLst>
            <pc:docMk/>
            <pc:sldMk cId="3550731511" sldId="2147374543"/>
            <ac:graphicFrameMk id="4" creationId="{73D26D84-F2D4-454F-9CBC-CD99B833945A}"/>
          </ac:graphicFrameMkLst>
        </pc:graphicFrameChg>
      </pc:sldChg>
      <pc:sldChg chg="delSp modSp del mod">
        <pc:chgData name="Raether, Jerry" userId="14db987c-f35f-4c71-8653-84d365bd3bb9" providerId="ADAL" clId="{90AB4D30-48C4-4682-BFF1-114A65A1ABB8}" dt="2022-05-24T16:36:22.806" v="501" actId="47"/>
        <pc:sldMkLst>
          <pc:docMk/>
          <pc:sldMk cId="2732325099" sldId="2147374545"/>
        </pc:sldMkLst>
        <pc:spChg chg="del">
          <ac:chgData name="Raether, Jerry" userId="14db987c-f35f-4c71-8653-84d365bd3bb9" providerId="ADAL" clId="{90AB4D30-48C4-4682-BFF1-114A65A1ABB8}" dt="2022-05-24T16:34:46.156" v="485" actId="478"/>
          <ac:spMkLst>
            <pc:docMk/>
            <pc:sldMk cId="2732325099" sldId="2147374545"/>
            <ac:spMk id="2" creationId="{E13C2BC8-E6C3-43B3-9946-27ECF952ABA9}"/>
          </ac:spMkLst>
        </pc:spChg>
        <pc:graphicFrameChg chg="mod modGraphic">
          <ac:chgData name="Raether, Jerry" userId="14db987c-f35f-4c71-8653-84d365bd3bb9" providerId="ADAL" clId="{90AB4D30-48C4-4682-BFF1-114A65A1ABB8}" dt="2022-05-24T16:34:54.431" v="500" actId="1036"/>
          <ac:graphicFrameMkLst>
            <pc:docMk/>
            <pc:sldMk cId="2732325099" sldId="2147374545"/>
            <ac:graphicFrameMk id="18" creationId="{B26D893D-B451-4FE3-A72C-C83032CAEA5C}"/>
          </ac:graphicFrameMkLst>
        </pc:graphicFrameChg>
        <pc:picChg chg="del">
          <ac:chgData name="Raether, Jerry" userId="14db987c-f35f-4c71-8653-84d365bd3bb9" providerId="ADAL" clId="{90AB4D30-48C4-4682-BFF1-114A65A1ABB8}" dt="2022-05-24T16:34:47.479" v="486" actId="478"/>
          <ac:picMkLst>
            <pc:docMk/>
            <pc:sldMk cId="2732325099" sldId="2147374545"/>
            <ac:picMk id="4" creationId="{15B4BC4B-4865-4A13-8856-7A1B583BB9F4}"/>
          </ac:picMkLst>
        </pc:picChg>
        <pc:picChg chg="del">
          <ac:chgData name="Raether, Jerry" userId="14db987c-f35f-4c71-8653-84d365bd3bb9" providerId="ADAL" clId="{90AB4D30-48C4-4682-BFF1-114A65A1ABB8}" dt="2022-05-24T16:34:46.156" v="485" actId="478"/>
          <ac:picMkLst>
            <pc:docMk/>
            <pc:sldMk cId="2732325099" sldId="2147374545"/>
            <ac:picMk id="26" creationId="{DE6E3659-0561-49CE-A23E-1F02176CCC7D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224B0B-B14D-40AC-82DF-F3306E84CD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87035F-7A70-47F4-BE9C-22A896CD4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D8EA7-7DA4-4945-AC0B-1C137F860C15}" type="datetimeFigureOut">
              <a:rPr lang="es-PE" smtClean="0">
                <a:latin typeface="PTCRaleway" panose="020B0503030101060003" pitchFamily="34" charset="0"/>
              </a:rPr>
              <a:t>13/02/2024</a:t>
            </a:fld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1217F-1BC1-4AA5-8B2B-5ECC481CC3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F08F94-7F82-4A63-917E-74383B6A0A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6B9F4-9710-4869-B60C-B0B61D2780E4}" type="slidenum">
              <a:rPr lang="es-PE" smtClean="0">
                <a:latin typeface="PTCRaleway" panose="020B0503030101060003" pitchFamily="34" charset="0"/>
              </a:rPr>
              <a:t>‹#›</a:t>
            </a:fld>
            <a:endParaRPr lang="es-PE" dirty="0">
              <a:latin typeface="PTCRaleway" panose="020B05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4653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AC5DD82D-684E-4FFB-8320-B8CCB1AF24EB}" type="datetimeFigureOut">
              <a:rPr lang="en-US" smtClean="0"/>
              <a:pPr/>
              <a:t>2/13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D1F37E36-7D7C-4671-B3B8-2BFBF9F6F7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644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67781" indent="-167781" defTabSz="894832">
              <a:spcBef>
                <a:spcPts val="0"/>
              </a:spcBef>
              <a:defRPr/>
            </a:pPr>
            <a:r>
              <a:rPr lang="en-GB" sz="1200"/>
              <a:t>.</a:t>
            </a:r>
            <a:endParaRPr lang="en-GB" sz="1200" dirty="0"/>
          </a:p>
          <a:p>
            <a:pPr marL="0" indent="0" defTabSz="894832">
              <a:spcBef>
                <a:spcPts val="0"/>
              </a:spcBef>
              <a:buNone/>
              <a:defRPr/>
            </a:pPr>
            <a:endParaRPr lang="en-GB" sz="1200" dirty="0"/>
          </a:p>
          <a:p>
            <a:pPr lvl="0"/>
            <a:endParaRPr lang="en-GB" sz="1200" dirty="0"/>
          </a:p>
          <a:p>
            <a:pPr marL="167781" indent="-167781" defTabSz="894832">
              <a:spcBef>
                <a:spcPts val="0"/>
              </a:spcBef>
              <a:defRPr/>
            </a:pPr>
            <a:endParaRPr lang="en-US" sz="1200" dirty="0"/>
          </a:p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9F304-ADA7-46EF-8A38-C4E5E6F6404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960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976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33132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602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4615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81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67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69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0197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9886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97859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16896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610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37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269221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255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 userDrawn="1"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 userDrawn="1"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375427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 userDrawn="1"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 userDrawn="1"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 userDrawn="1"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 userDrawn="1"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 userDrawn="1"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 userDrawn="1"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598208-AA80-467D-8193-8E836964952A}"/>
              </a:ext>
            </a:extLst>
          </p:cNvPr>
          <p:cNvGrpSpPr/>
          <p:nvPr userDrawn="1"/>
        </p:nvGrpSpPr>
        <p:grpSpPr>
          <a:xfrm>
            <a:off x="-6515" y="-465745"/>
            <a:ext cx="2284497" cy="7335777"/>
            <a:chOff x="-6515" y="-465745"/>
            <a:chExt cx="2284497" cy="733577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46E2C9E0-78F4-4874-8B92-08E2A7C0061D}"/>
                </a:ext>
              </a:extLst>
            </p:cNvPr>
            <p:cNvSpPr/>
            <p:nvPr/>
          </p:nvSpPr>
          <p:spPr>
            <a:xfrm>
              <a:off x="0" y="-12032"/>
              <a:ext cx="2277982" cy="687003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3507531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0032"/>
                <a:gd name="connsiteX1" fmla="*/ 11367745 w 11367745"/>
                <a:gd name="connsiteY1" fmla="*/ 0 h 6870032"/>
                <a:gd name="connsiteX2" fmla="*/ 3507531 w 11367745"/>
                <a:gd name="connsiteY2" fmla="*/ 4207042 h 6870032"/>
                <a:gd name="connsiteX3" fmla="*/ 3976167 w 11367745"/>
                <a:gd name="connsiteY3" fmla="*/ 6839042 h 6870032"/>
                <a:gd name="connsiteX4" fmla="*/ 0 w 11367745"/>
                <a:gd name="connsiteY4" fmla="*/ 6870032 h 6870032"/>
                <a:gd name="connsiteX5" fmla="*/ 0 w 11367745"/>
                <a:gd name="connsiteY5" fmla="*/ 12032 h 687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0032">
                  <a:moveTo>
                    <a:pt x="0" y="12032"/>
                  </a:moveTo>
                  <a:lnTo>
                    <a:pt x="11367745" y="0"/>
                  </a:lnTo>
                  <a:cubicBezTo>
                    <a:pt x="9493718" y="1572491"/>
                    <a:pt x="4203722" y="2709657"/>
                    <a:pt x="3507531" y="4207042"/>
                  </a:cubicBezTo>
                  <a:cubicBezTo>
                    <a:pt x="3950876" y="5523223"/>
                    <a:pt x="3449696" y="5387779"/>
                    <a:pt x="3976167" y="6839042"/>
                  </a:cubicBezTo>
                  <a:lnTo>
                    <a:pt x="0" y="6870032"/>
                  </a:lnTo>
                  <a:lnTo>
                    <a:pt x="0" y="12032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ight Triangle 3">
              <a:extLst>
                <a:ext uri="{FF2B5EF4-FFF2-40B4-BE49-F238E27FC236}">
                  <a16:creationId xmlns:a16="http://schemas.microsoft.com/office/drawing/2014/main" id="{56990D95-B6C6-4723-82D2-F9651330B7FE}"/>
                </a:ext>
              </a:extLst>
            </p:cNvPr>
            <p:cNvSpPr/>
            <p:nvPr/>
          </p:nvSpPr>
          <p:spPr>
            <a:xfrm flipH="1">
              <a:off x="-6515" y="4242391"/>
              <a:ext cx="712079" cy="2616194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350874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350874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692518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64691 h 2626242"/>
                <a:gd name="connsiteX3" fmla="*/ 692518 w 712079"/>
                <a:gd name="connsiteY3" fmla="*/ 2626242 h 2626242"/>
                <a:gd name="connsiteX0" fmla="*/ 702567 w 712079"/>
                <a:gd name="connsiteY0" fmla="*/ 2616194 h 2616194"/>
                <a:gd name="connsiteX1" fmla="*/ 0 w 712079"/>
                <a:gd name="connsiteY1" fmla="*/ 0 h 2616194"/>
                <a:gd name="connsiteX2" fmla="*/ 712079 w 712079"/>
                <a:gd name="connsiteY2" fmla="*/ 1264691 h 2616194"/>
                <a:gd name="connsiteX3" fmla="*/ 702567 w 712079"/>
                <a:gd name="connsiteY3" fmla="*/ 2616194 h 2616194"/>
                <a:gd name="connsiteX0" fmla="*/ 702567 w 712079"/>
                <a:gd name="connsiteY0" fmla="*/ 2616194 h 2616194"/>
                <a:gd name="connsiteX1" fmla="*/ 605080 w 712079"/>
                <a:gd name="connsiteY1" fmla="*/ 2258893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  <a:gd name="connsiteX0" fmla="*/ 702567 w 712079"/>
                <a:gd name="connsiteY0" fmla="*/ 2616194 h 2616194"/>
                <a:gd name="connsiteX1" fmla="*/ 665371 w 712079"/>
                <a:gd name="connsiteY1" fmla="*/ 2615609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079" h="2616194">
                  <a:moveTo>
                    <a:pt x="702567" y="2616194"/>
                  </a:moveTo>
                  <a:lnTo>
                    <a:pt x="665371" y="2615609"/>
                  </a:lnTo>
                  <a:lnTo>
                    <a:pt x="0" y="0"/>
                  </a:lnTo>
                  <a:lnTo>
                    <a:pt x="712079" y="1264691"/>
                  </a:lnTo>
                  <a:cubicBezTo>
                    <a:pt x="708908" y="1715192"/>
                    <a:pt x="705738" y="2165693"/>
                    <a:pt x="702567" y="2616194"/>
                  </a:cubicBezTo>
                  <a:close/>
                </a:path>
              </a:pathLst>
            </a:custGeom>
            <a:gradFill>
              <a:gsLst>
                <a:gs pos="2000">
                  <a:srgbClr val="62B53F"/>
                </a:gs>
                <a:gs pos="52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C9B2ECA-C14A-4E87-A3F3-80BB4481D7A8}"/>
                </a:ext>
              </a:extLst>
            </p:cNvPr>
            <p:cNvSpPr/>
            <p:nvPr/>
          </p:nvSpPr>
          <p:spPr>
            <a:xfrm>
              <a:off x="16636" y="3818487"/>
              <a:ext cx="963639" cy="305154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639" h="3051545">
                  <a:moveTo>
                    <a:pt x="0" y="3051545"/>
                  </a:moveTo>
                  <a:lnTo>
                    <a:pt x="754912" y="0"/>
                  </a:lnTo>
                  <a:lnTo>
                    <a:pt x="963639" y="3051545"/>
                  </a:lnTo>
                  <a:lnTo>
                    <a:pt x="0" y="3051545"/>
                  </a:lnTo>
                  <a:close/>
                </a:path>
              </a:pathLst>
            </a:custGeom>
            <a:gradFill>
              <a:gsLst>
                <a:gs pos="27000">
                  <a:srgbClr val="5EAC3E"/>
                </a:gs>
                <a:gs pos="64000">
                  <a:srgbClr val="67BD4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Right Triangle 3">
              <a:extLst>
                <a:ext uri="{FF2B5EF4-FFF2-40B4-BE49-F238E27FC236}">
                  <a16:creationId xmlns:a16="http://schemas.microsoft.com/office/drawing/2014/main" id="{9AFA1F9D-E0DB-427A-8D67-2A3C457C3A94}"/>
                </a:ext>
              </a:extLst>
            </p:cNvPr>
            <p:cNvSpPr/>
            <p:nvPr/>
          </p:nvSpPr>
          <p:spPr>
            <a:xfrm rot="12173926">
              <a:off x="1003907" y="-465745"/>
              <a:ext cx="1014731" cy="6395388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  <a:gd name="connsiteX0" fmla="*/ 0 w 1014731"/>
                <a:gd name="connsiteY0" fmla="*/ 7343100 h 7343100"/>
                <a:gd name="connsiteX1" fmla="*/ 978069 w 1014731"/>
                <a:gd name="connsiteY1" fmla="*/ 0 h 7343100"/>
                <a:gd name="connsiteX2" fmla="*/ 1014731 w 1014731"/>
                <a:gd name="connsiteY2" fmla="*/ 6917544 h 7343100"/>
                <a:gd name="connsiteX3" fmla="*/ 0 w 1014731"/>
                <a:gd name="connsiteY3" fmla="*/ 7343100 h 7343100"/>
                <a:gd name="connsiteX0" fmla="*/ 0 w 1014731"/>
                <a:gd name="connsiteY0" fmla="*/ 7503364 h 7503364"/>
                <a:gd name="connsiteX1" fmla="*/ 945205 w 1014731"/>
                <a:gd name="connsiteY1" fmla="*/ 0 h 7503364"/>
                <a:gd name="connsiteX2" fmla="*/ 1014731 w 1014731"/>
                <a:gd name="connsiteY2" fmla="*/ 7077808 h 7503364"/>
                <a:gd name="connsiteX3" fmla="*/ 0 w 1014731"/>
                <a:gd name="connsiteY3" fmla="*/ 7503364 h 7503364"/>
                <a:gd name="connsiteX0" fmla="*/ 0 w 1014731"/>
                <a:gd name="connsiteY0" fmla="*/ 7503364 h 7503364"/>
                <a:gd name="connsiteX1" fmla="*/ 762176 w 1014731"/>
                <a:gd name="connsiteY1" fmla="*/ 13606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7503364 h 7503364"/>
                <a:gd name="connsiteX1" fmla="*/ 793220 w 1014731"/>
                <a:gd name="connsiteY1" fmla="*/ 12275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6275800 h 6275800"/>
                <a:gd name="connsiteX1" fmla="*/ 793220 w 1014731"/>
                <a:gd name="connsiteY1" fmla="*/ 0 h 6275800"/>
                <a:gd name="connsiteX2" fmla="*/ 963930 w 1014731"/>
                <a:gd name="connsiteY2" fmla="*/ 237103 h 6275800"/>
                <a:gd name="connsiteX3" fmla="*/ 1014731 w 1014731"/>
                <a:gd name="connsiteY3" fmla="*/ 5850244 h 6275800"/>
                <a:gd name="connsiteX4" fmla="*/ 0 w 1014731"/>
                <a:gd name="connsiteY4" fmla="*/ 6275800 h 6275800"/>
                <a:gd name="connsiteX0" fmla="*/ 0 w 1014731"/>
                <a:gd name="connsiteY0" fmla="*/ 6321680 h 6321680"/>
                <a:gd name="connsiteX1" fmla="*/ 850196 w 1014731"/>
                <a:gd name="connsiteY1" fmla="*/ 0 h 6321680"/>
                <a:gd name="connsiteX2" fmla="*/ 963930 w 1014731"/>
                <a:gd name="connsiteY2" fmla="*/ 282983 h 6321680"/>
                <a:gd name="connsiteX3" fmla="*/ 1014731 w 1014731"/>
                <a:gd name="connsiteY3" fmla="*/ 5896124 h 6321680"/>
                <a:gd name="connsiteX4" fmla="*/ 0 w 1014731"/>
                <a:gd name="connsiteY4" fmla="*/ 6321680 h 6321680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3930 w 1014731"/>
                <a:gd name="connsiteY2" fmla="*/ 299024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1456 w 1014731"/>
                <a:gd name="connsiteY2" fmla="*/ 267345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61456 w 1014731"/>
                <a:gd name="connsiteY2" fmla="*/ 2732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5417 w 1014731"/>
                <a:gd name="connsiteY2" fmla="*/ 3127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37597 w 1014731"/>
                <a:gd name="connsiteY2" fmla="*/ 294197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2225 w 1014731"/>
                <a:gd name="connsiteY2" fmla="*/ 292242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95388 h 6395388"/>
                <a:gd name="connsiteX1" fmla="*/ 796930 w 1014731"/>
                <a:gd name="connsiteY1" fmla="*/ 0 h 6395388"/>
                <a:gd name="connsiteX2" fmla="*/ 942225 w 1014731"/>
                <a:gd name="connsiteY2" fmla="*/ 344044 h 6395388"/>
                <a:gd name="connsiteX3" fmla="*/ 1014731 w 1014731"/>
                <a:gd name="connsiteY3" fmla="*/ 5969832 h 6395388"/>
                <a:gd name="connsiteX4" fmla="*/ 0 w 1014731"/>
                <a:gd name="connsiteY4" fmla="*/ 6395388 h 63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731" h="6395388">
                  <a:moveTo>
                    <a:pt x="0" y="6395388"/>
                  </a:moveTo>
                  <a:lnTo>
                    <a:pt x="796930" y="0"/>
                  </a:lnTo>
                  <a:lnTo>
                    <a:pt x="942225" y="344044"/>
                  </a:lnTo>
                  <a:lnTo>
                    <a:pt x="1014731" y="5969832"/>
                  </a:lnTo>
                  <a:lnTo>
                    <a:pt x="0" y="6395388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885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974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893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4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36" Type="http://schemas.openxmlformats.org/officeDocument/2006/relationships/image" Target="../media/image8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4.png"/><Relationship Id="rId35" Type="http://schemas.openxmlformats.org/officeDocument/2006/relationships/image" Target="../media/image7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83" imgH="384" progId="TCLayout.ActiveDocument.1">
                  <p:embed/>
                </p:oleObj>
              </mc:Choice>
              <mc:Fallback>
                <p:oleObj name="think-cell Slide" r:id="rId28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D2F2950-7537-4E6F-B33D-35A19B1AB26A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FD1D920-036D-4BCE-A963-9A109BD6E299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4">
              <a:extLst>
                <a:ext uri="{FF2B5EF4-FFF2-40B4-BE49-F238E27FC236}">
                  <a16:creationId xmlns:a16="http://schemas.microsoft.com/office/drawing/2014/main" id="{13DF9A9F-26BE-4073-8E1D-B518CB8926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3998" r:id="rId2"/>
    <p:sldLayoutId id="2147483999" r:id="rId3"/>
    <p:sldLayoutId id="2147484000" r:id="rId4"/>
    <p:sldLayoutId id="2147483650" r:id="rId5"/>
    <p:sldLayoutId id="2147483652" r:id="rId6"/>
    <p:sldLayoutId id="2147483653" r:id="rId7"/>
    <p:sldLayoutId id="2147483654" r:id="rId8"/>
    <p:sldLayoutId id="2147483938" r:id="rId9"/>
    <p:sldLayoutId id="2147483972" r:id="rId10"/>
    <p:sldLayoutId id="2147483963" r:id="rId11"/>
    <p:sldLayoutId id="2147483953" r:id="rId12"/>
    <p:sldLayoutId id="2147484001" r:id="rId13"/>
    <p:sldLayoutId id="2147484002" r:id="rId14"/>
    <p:sldLayoutId id="2147483971" r:id="rId15"/>
    <p:sldLayoutId id="2147483956" r:id="rId16"/>
    <p:sldLayoutId id="2147483992" r:id="rId17"/>
    <p:sldLayoutId id="2147483957" r:id="rId18"/>
    <p:sldLayoutId id="2147484054" r:id="rId19"/>
    <p:sldLayoutId id="2147484030" r:id="rId20"/>
    <p:sldLayoutId id="2147484028" r:id="rId21"/>
    <p:sldLayoutId id="2147483701" r:id="rId22"/>
    <p:sldLayoutId id="2147484059" r:id="rId23"/>
    <p:sldLayoutId id="2147484062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4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6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6.jpeg"/><Relationship Id="rId5" Type="http://schemas.openxmlformats.org/officeDocument/2006/relationships/image" Target="../media/image35.jpeg"/><Relationship Id="rId4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/>
              <a:t>CREO MECHANISM DYNAMICS OPTION (MDO)  </a:t>
            </a:r>
          </a:p>
        </p:txBody>
      </p:sp>
      <p:sp>
        <p:nvSpPr>
          <p:cNvPr id="2" name="Subtitle 1"/>
          <p:cNvSpPr>
            <a:spLocks noGrp="1"/>
          </p:cNvSpPr>
          <p:nvPr>
            <p:ph type="subTitle" idx="4294967295"/>
          </p:nvPr>
        </p:nvSpPr>
        <p:spPr>
          <a:xfrm>
            <a:off x="501920" y="1195238"/>
            <a:ext cx="11188160" cy="485775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Analyze and optimize the dynamic performance of mechanism design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EAD795F-EA74-4D07-BA98-AE977038ACC6}"/>
              </a:ext>
            </a:extLst>
          </p:cNvPr>
          <p:cNvGrpSpPr/>
          <p:nvPr/>
        </p:nvGrpSpPr>
        <p:grpSpPr>
          <a:xfrm>
            <a:off x="5923583" y="1638131"/>
            <a:ext cx="5770692" cy="5019552"/>
            <a:chOff x="6290116" y="2028279"/>
            <a:chExt cx="5770692" cy="5019552"/>
          </a:xfrm>
        </p:grpSpPr>
        <p:pic>
          <p:nvPicPr>
            <p:cNvPr id="10" name="Picture 7" descr="D:\000 - CAD Sales Enablement\000 - FY16 CAD Core Plays\FY16 Direct Package Upgrade Play\images\image9.jp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04755" y="2028279"/>
              <a:ext cx="2079492" cy="18873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9" descr="D:\000 - CAD Sales Enablement\000 - FY16 CAD Core Plays\FY16 Direct Package Upgrade Play\images\vpp-anime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90116" y="3823671"/>
              <a:ext cx="3708770" cy="22561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11" descr="D:\000 - CAD Sales Enablement\000 - FY16 CAD Core Plays\FY16 Direct Package Upgrade Play\images\BS-FAS-T.jpg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438412" y="2412208"/>
              <a:ext cx="2622396" cy="18139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8" descr="D:\000 - CAD Sales Enablement\000 - FY16 CAD Core Plays\FY16 Direct Package Upgrade Play\images\mobil-shc-image-16-glygoyle-460.980x980.jpg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72561" y="4319114"/>
              <a:ext cx="2274858" cy="27287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AF30A7F5-9F3A-4E38-A9C3-9EB820CBA509}"/>
              </a:ext>
            </a:extLst>
          </p:cNvPr>
          <p:cNvSpPr/>
          <p:nvPr/>
        </p:nvSpPr>
        <p:spPr>
          <a:xfrm>
            <a:off x="511114" y="1876790"/>
            <a:ext cx="1510147" cy="7278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Who Needs It?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89E9E98-3E7B-422C-B69F-7E89916FEF66}"/>
              </a:ext>
            </a:extLst>
          </p:cNvPr>
          <p:cNvSpPr/>
          <p:nvPr/>
        </p:nvSpPr>
        <p:spPr>
          <a:xfrm>
            <a:off x="2161969" y="1876790"/>
            <a:ext cx="4673236" cy="7278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All customers that need to optimize mechanism behavior to enhance product performance and quality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52A3449-6614-4443-A684-801540849624}"/>
              </a:ext>
            </a:extLst>
          </p:cNvPr>
          <p:cNvSpPr/>
          <p:nvPr/>
        </p:nvSpPr>
        <p:spPr>
          <a:xfrm>
            <a:off x="511114" y="2668002"/>
            <a:ext cx="1510147" cy="94383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Business Valu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76A39C8-98CA-48C4-B51A-3F9CE09820DC}"/>
              </a:ext>
            </a:extLst>
          </p:cNvPr>
          <p:cNvSpPr/>
          <p:nvPr/>
        </p:nvSpPr>
        <p:spPr>
          <a:xfrm>
            <a:off x="2161972" y="2668002"/>
            <a:ext cx="3891838" cy="94383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time-to-marke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lifecycle cos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development cost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Improve product quality and innovation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A95B706-FC4A-4718-A1C1-58DF71F4A2A3}"/>
              </a:ext>
            </a:extLst>
          </p:cNvPr>
          <p:cNvSpPr/>
          <p:nvPr/>
        </p:nvSpPr>
        <p:spPr>
          <a:xfrm>
            <a:off x="511114" y="3679144"/>
            <a:ext cx="1510147" cy="79312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Process Improvemen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3A89751-79A8-470A-9CCF-A7483B2EFFC5}"/>
              </a:ext>
            </a:extLst>
          </p:cNvPr>
          <p:cNvSpPr/>
          <p:nvPr/>
        </p:nvSpPr>
        <p:spPr>
          <a:xfrm>
            <a:off x="2161968" y="3709624"/>
            <a:ext cx="3891842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Mechanism design and visualization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Kinematic and dynamic motion analysis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Load transfer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B8B147C-2139-40CF-9E75-1F2A404F9DC2}"/>
              </a:ext>
            </a:extLst>
          </p:cNvPr>
          <p:cNvSpPr/>
          <p:nvPr/>
        </p:nvSpPr>
        <p:spPr>
          <a:xfrm>
            <a:off x="511114" y="4539579"/>
            <a:ext cx="1510147" cy="161253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Technology/ Capability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9E30ADD-5E49-4BE8-8E05-7B68B196FFFF}"/>
              </a:ext>
            </a:extLst>
          </p:cNvPr>
          <p:cNvSpPr/>
          <p:nvPr/>
        </p:nvSpPr>
        <p:spPr>
          <a:xfrm>
            <a:off x="2161970" y="4570059"/>
            <a:ext cx="3620902" cy="16125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Model real-world force, loads </a:t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>and contact type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nalyze mechanism behavior </a:t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>and reactionary force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eamlessly transfer reaction, gravity and inertial loads to Creo Simulate (Structural Analysis)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7E1921F7-D86C-45C5-BEBF-EFB635CEDFE4}"/>
              </a:ext>
            </a:extLst>
          </p:cNvPr>
          <p:cNvCxnSpPr>
            <a:cxnSpLocks/>
          </p:cNvCxnSpPr>
          <p:nvPr/>
        </p:nvCxnSpPr>
        <p:spPr>
          <a:xfrm>
            <a:off x="2118246" y="1876793"/>
            <a:ext cx="0" cy="727844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F984339-77CE-4B49-BC06-DCA57F9B7244}"/>
              </a:ext>
            </a:extLst>
          </p:cNvPr>
          <p:cNvCxnSpPr>
            <a:cxnSpLocks/>
          </p:cNvCxnSpPr>
          <p:nvPr/>
        </p:nvCxnSpPr>
        <p:spPr>
          <a:xfrm>
            <a:off x="2118246" y="2668001"/>
            <a:ext cx="0" cy="943834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EB80FD0-680B-4934-8D4F-FE74855A8F26}"/>
              </a:ext>
            </a:extLst>
          </p:cNvPr>
          <p:cNvCxnSpPr>
            <a:cxnSpLocks/>
          </p:cNvCxnSpPr>
          <p:nvPr/>
        </p:nvCxnSpPr>
        <p:spPr>
          <a:xfrm>
            <a:off x="2118246" y="3679141"/>
            <a:ext cx="0" cy="793128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1AEDA2A3-A0FF-45C7-BE28-864743BA2171}"/>
              </a:ext>
            </a:extLst>
          </p:cNvPr>
          <p:cNvCxnSpPr>
            <a:cxnSpLocks/>
          </p:cNvCxnSpPr>
          <p:nvPr/>
        </p:nvCxnSpPr>
        <p:spPr>
          <a:xfrm>
            <a:off x="2118246" y="4539578"/>
            <a:ext cx="0" cy="1612539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7070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1E092C9-F2AD-4020-B6A9-73E161A0A678}" vid="{7658606F-0CA7-4533-80D0-41CF0D1EE6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3CC3168B6C2D4D99959A344254B259" ma:contentTypeVersion="12" ma:contentTypeDescription="Create a new document." ma:contentTypeScope="" ma:versionID="e468f9b7da3db852f22f87de9fae82bf">
  <xsd:schema xmlns:xsd="http://www.w3.org/2001/XMLSchema" xmlns:xs="http://www.w3.org/2001/XMLSchema" xmlns:p="http://schemas.microsoft.com/office/2006/metadata/properties" xmlns:ns2="06caee19-00b5-48df-bf01-7741a1496c06" xmlns:ns3="7dafaee0-0f14-4d71-9768-8f6113da2e1a" targetNamespace="http://schemas.microsoft.com/office/2006/metadata/properties" ma:root="true" ma:fieldsID="2297e68328c0963e3d6f41ac4bb00918" ns2:_="" ns3:_="">
    <xsd:import namespace="06caee19-00b5-48df-bf01-7741a1496c06"/>
    <xsd:import namespace="7dafaee0-0f14-4d71-9768-8f6113da2e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caee19-00b5-48df-bf01-7741a1496c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afaee0-0f14-4d71-9768-8f6113da2e1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126EC88-F0D5-4034-9295-84F68AACF8A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10489BE2-6494-4C27-84D8-34E0EA3FD6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caee19-00b5-48df-bf01-7741a1496c06"/>
    <ds:schemaRef ds:uri="7dafaee0-0f14-4d71-9768-8f6113da2e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6A337BF-3B74-4C10-A8A9-3670BC4CF74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777</TotalTime>
  <Words>100</Words>
  <Application>Microsoft Office PowerPoint</Application>
  <PresentationFormat>Widescreen</PresentationFormat>
  <Paragraphs>2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Wingdings</vt:lpstr>
      <vt:lpstr>PTCRaleway</vt:lpstr>
      <vt:lpstr>MS PGothic</vt:lpstr>
      <vt:lpstr>Arial Narrow</vt:lpstr>
      <vt:lpstr>PTC PowerPoint Template</vt:lpstr>
      <vt:lpstr>think-cell Slide</vt:lpstr>
      <vt:lpstr>CREO MECHANISM DYNAMICS OPTION (MDO)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o Packaging  and Solution Capabilities</dc:title>
  <dc:creator>McCagg, Marty</dc:creator>
  <cp:lastModifiedBy>Vasilis Karastergios</cp:lastModifiedBy>
  <cp:revision>81</cp:revision>
  <dcterms:created xsi:type="dcterms:W3CDTF">2021-10-13T03:56:04Z</dcterms:created>
  <dcterms:modified xsi:type="dcterms:W3CDTF">2024-02-13T12:56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3CC3168B6C2D4D99959A344254B259</vt:lpwstr>
  </property>
</Properties>
</file>